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6" r:id="rId1"/>
  </p:sldMasterIdLst>
  <p:notesMasterIdLst>
    <p:notesMasterId r:id="rId3"/>
  </p:notesMasterIdLst>
  <p:sldIdLst>
    <p:sldId id="4483" r:id="rId2"/>
  </p:sldIdLst>
  <p:sldSz cx="6858000" cy="12192000"/>
  <p:notesSz cx="6858000" cy="9144000"/>
  <p:defaultTextStyle>
    <a:defPPr>
      <a:defRPr lang="es-419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772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A5A6A1"/>
    <a:srgbClr val="A6A7A2"/>
    <a:srgbClr val="4F062A"/>
    <a:srgbClr val="EC014F"/>
    <a:srgbClr val="D9014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039" autoAdjust="0"/>
    <p:restoredTop sz="94660"/>
  </p:normalViewPr>
  <p:slideViewPr>
    <p:cSldViewPr snapToGrid="0" showGuides="1">
      <p:cViewPr varScale="1">
        <p:scale>
          <a:sx n="42" d="100"/>
          <a:sy n="42" d="100"/>
        </p:scale>
        <p:origin x="2460" y="60"/>
      </p:cViewPr>
      <p:guideLst>
        <p:guide orient="horz" pos="3772"/>
        <p:guide pos="216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419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5EBEF11-B096-4614-A8D5-D5F033E4BA0E}" type="datetimeFigureOut">
              <a:rPr lang="es-419" smtClean="0"/>
              <a:t>19/2/2025</a:t>
            </a:fld>
            <a:endParaRPr lang="es-419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2560638" y="1143000"/>
            <a:ext cx="17367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419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419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419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E16A204-0868-481E-84EE-1462266D34AD}" type="slidenum">
              <a:rPr lang="es-419" smtClean="0"/>
              <a:t>‹#›</a:t>
            </a:fld>
            <a:endParaRPr lang="es-419"/>
          </a:p>
        </p:txBody>
      </p:sp>
    </p:spTree>
    <p:extLst>
      <p:ext uri="{BB962C8B-B14F-4D97-AF65-F5344CB8AC3E}">
        <p14:creationId xmlns:p14="http://schemas.microsoft.com/office/powerpoint/2010/main" val="287962415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2560638" y="1143000"/>
            <a:ext cx="1736725" cy="30861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18330C8-F4C9-44E0-B4BA-0D3CCF0726D4}" type="slidenum">
              <a:rPr kumimoji="0" lang="es-E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orFuture Sans" panose="020B0504020203020204"/>
                <a:ea typeface="+mn-ea"/>
                <a:cs typeface="+mn-cs"/>
                <a:sym typeface="ForFuture Sans" panose="020B0504020203020204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orFuture Sans" panose="020B0504020203020204"/>
              <a:ea typeface="+mn-ea"/>
              <a:cs typeface="+mn-cs"/>
              <a:sym typeface="ForFuture Sans" panose="020B0504020203020204"/>
            </a:endParaRPr>
          </a:p>
        </p:txBody>
      </p:sp>
    </p:spTree>
    <p:extLst>
      <p:ext uri="{BB962C8B-B14F-4D97-AF65-F5344CB8AC3E}">
        <p14:creationId xmlns:p14="http://schemas.microsoft.com/office/powerpoint/2010/main" val="66923267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Base - Gris Cerámic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CF70B29-0B4F-1BB5-7C5E-400AC16B400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554163" y="182563"/>
            <a:ext cx="4902200" cy="42068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91899842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1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8D09E399-3561-B977-D5DC-7AD154CF90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075321299"/>
              </p:ext>
            </p:extLst>
          </p:nvPr>
        </p:nvGraphicFramePr>
        <p:xfrm>
          <a:off x="893" y="2823"/>
          <a:ext cx="893" cy="28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06" imgH="306" progId="TCLayout.ActiveDocument.1">
                  <p:embed/>
                </p:oleObj>
              </mc:Choice>
              <mc:Fallback>
                <p:oleObj name="Diapositiva de think-cell" r:id="rId4" imgW="306" imgH="30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D09E399-3561-B977-D5DC-7AD154CF90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893" y="2823"/>
                        <a:ext cx="893" cy="28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2 Marcador de número de diapositiva">
            <a:extLst>
              <a:ext uri="{FF2B5EF4-FFF2-40B4-BE49-F238E27FC236}">
                <a16:creationId xmlns:a16="http://schemas.microsoft.com/office/drawing/2014/main" id="{DC0E35EF-F626-C338-B5AD-392DB1A015B6}"/>
              </a:ext>
            </a:extLst>
          </p:cNvPr>
          <p:cNvSpPr txBox="1">
            <a:spLocks/>
          </p:cNvSpPr>
          <p:nvPr userDrawn="1"/>
        </p:nvSpPr>
        <p:spPr>
          <a:xfrm>
            <a:off x="6453378" y="11831822"/>
            <a:ext cx="215982" cy="123111"/>
          </a:xfrm>
          <a:prstGeom prst="rect">
            <a:avLst/>
          </a:prstGeom>
        </p:spPr>
        <p:txBody>
          <a:bodyPr vert="horz" lIns="0" tIns="0" rIns="0" bIns="0" rtlCol="0" anchor="b" anchorCtr="0">
            <a:spAutoFit/>
          </a:bodyPr>
          <a:lstStyle>
            <a:defPPr>
              <a:defRPr lang="en-US"/>
            </a:defPPr>
            <a:lvl1pPr algn="r">
              <a:defRPr sz="8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7CEF99-55C6-4480-A94C-7A7D18CCB18B}" type="slidenum">
              <a:rPr kumimoji="0" lang="en-GB" sz="800" b="0" i="0" u="none" strike="noStrike" kern="0" cap="none" spc="0" normalizeH="0" baseline="0" noProof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800" b="0" i="0" u="none" strike="noStrike" kern="0" cap="none" spc="0" normalizeH="0" baseline="0" noProof="1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  <p:pic>
        <p:nvPicPr>
          <p:cNvPr id="4" name="Imagen 23">
            <a:extLst>
              <a:ext uri="{FF2B5EF4-FFF2-40B4-BE49-F238E27FC236}">
                <a16:creationId xmlns:a16="http://schemas.microsoft.com/office/drawing/2014/main" id="{834810DE-2C2A-4B4C-A83A-87DC60FBFED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77191" y="347953"/>
            <a:ext cx="831917" cy="500356"/>
          </a:xfrm>
          <a:prstGeom prst="rect">
            <a:avLst/>
          </a:prstGeom>
        </p:spPr>
      </p:pic>
      <p:sp>
        <p:nvSpPr>
          <p:cNvPr id="6" name="Rectángulo 1">
            <a:extLst>
              <a:ext uri="{FF2B5EF4-FFF2-40B4-BE49-F238E27FC236}">
                <a16:creationId xmlns:a16="http://schemas.microsoft.com/office/drawing/2014/main" id="{143C0293-A15B-9C65-FF16-FD8EFD32055C}"/>
              </a:ext>
            </a:extLst>
          </p:cNvPr>
          <p:cNvSpPr/>
          <p:nvPr userDrawn="1"/>
        </p:nvSpPr>
        <p:spPr>
          <a:xfrm>
            <a:off x="5181079" y="1056290"/>
            <a:ext cx="1319019" cy="50719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A95919FC-525E-168D-341B-A06D355E5120}"/>
              </a:ext>
            </a:extLst>
          </p:cNvPr>
          <p:cNvSpPr/>
          <p:nvPr userDrawn="1"/>
        </p:nvSpPr>
        <p:spPr>
          <a:xfrm>
            <a:off x="4352452" y="1051130"/>
            <a:ext cx="626993" cy="50719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8" name="object 2">
            <a:extLst>
              <a:ext uri="{FF2B5EF4-FFF2-40B4-BE49-F238E27FC236}">
                <a16:creationId xmlns:a16="http://schemas.microsoft.com/office/drawing/2014/main" id="{D912F528-C92F-5768-9E41-1DCD46F3187D}"/>
              </a:ext>
            </a:extLst>
          </p:cNvPr>
          <p:cNvSpPr/>
          <p:nvPr userDrawn="1"/>
        </p:nvSpPr>
        <p:spPr>
          <a:xfrm>
            <a:off x="284772" y="3513035"/>
            <a:ext cx="6215326" cy="1021042"/>
          </a:xfrm>
          <a:custGeom>
            <a:avLst/>
            <a:gdLst/>
            <a:ahLst/>
            <a:cxnLst/>
            <a:rect l="l" t="t" r="r" b="b"/>
            <a:pathLst>
              <a:path w="5026025" h="3141345">
                <a:moveTo>
                  <a:pt x="4816607" y="0"/>
                </a:moveTo>
                <a:lnTo>
                  <a:pt x="209417" y="0"/>
                </a:lnTo>
                <a:lnTo>
                  <a:pt x="0" y="209417"/>
                </a:lnTo>
                <a:lnTo>
                  <a:pt x="0" y="2931847"/>
                </a:lnTo>
                <a:lnTo>
                  <a:pt x="209417" y="3141265"/>
                </a:lnTo>
                <a:lnTo>
                  <a:pt x="4816607" y="3141265"/>
                </a:lnTo>
                <a:lnTo>
                  <a:pt x="5026024" y="2931847"/>
                </a:lnTo>
                <a:lnTo>
                  <a:pt x="5026024" y="209417"/>
                </a:lnTo>
                <a:lnTo>
                  <a:pt x="4816607" y="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72000" tIns="72000" rIns="72000" bIns="72000" rtlCol="0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s-ES" sz="1100" dirty="0"/>
          </a:p>
        </p:txBody>
      </p:sp>
      <p:sp>
        <p:nvSpPr>
          <p:cNvPr id="12" name="Rectángulo 16">
            <a:extLst>
              <a:ext uri="{FF2B5EF4-FFF2-40B4-BE49-F238E27FC236}">
                <a16:creationId xmlns:a16="http://schemas.microsoft.com/office/drawing/2014/main" id="{FD326FD6-51DA-C978-DB09-3E9188CD92B1}"/>
              </a:ext>
            </a:extLst>
          </p:cNvPr>
          <p:cNvSpPr/>
          <p:nvPr userDrawn="1"/>
        </p:nvSpPr>
        <p:spPr>
          <a:xfrm>
            <a:off x="219755" y="10848029"/>
            <a:ext cx="6826317" cy="264288"/>
          </a:xfrm>
          <a:prstGeom prst="rect">
            <a:avLst/>
          </a:prstGeom>
          <a:noFill/>
        </p:spPr>
        <p:txBody>
          <a:bodyPr wrap="square" lIns="144000" tIns="0" rIns="576000" bIns="0" rtlCol="0" anchor="ctr"/>
          <a:lstStyle/>
          <a:p>
            <a:pPr marL="0" marR="0" lvl="0" indent="0" defTabSz="685343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r>
              <a:rPr lang="es-ES" sz="1400" b="1" kern="0" dirty="0"/>
              <a:t>Referencias</a:t>
            </a:r>
            <a:endParaRPr kumimoji="0" lang="es-ES" sz="14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4" name="object 2">
            <a:extLst>
              <a:ext uri="{FF2B5EF4-FFF2-40B4-BE49-F238E27FC236}">
                <a16:creationId xmlns:a16="http://schemas.microsoft.com/office/drawing/2014/main" id="{F2B83CC3-A7CD-AA8A-746B-FE6C0B89E8E9}"/>
              </a:ext>
            </a:extLst>
          </p:cNvPr>
          <p:cNvSpPr/>
          <p:nvPr userDrawn="1"/>
        </p:nvSpPr>
        <p:spPr>
          <a:xfrm>
            <a:off x="296769" y="5791494"/>
            <a:ext cx="6215326" cy="915922"/>
          </a:xfrm>
          <a:custGeom>
            <a:avLst/>
            <a:gdLst/>
            <a:ahLst/>
            <a:cxnLst/>
            <a:rect l="l" t="t" r="r" b="b"/>
            <a:pathLst>
              <a:path w="5026025" h="3141345">
                <a:moveTo>
                  <a:pt x="4816607" y="0"/>
                </a:moveTo>
                <a:lnTo>
                  <a:pt x="209417" y="0"/>
                </a:lnTo>
                <a:lnTo>
                  <a:pt x="0" y="209417"/>
                </a:lnTo>
                <a:lnTo>
                  <a:pt x="0" y="2931847"/>
                </a:lnTo>
                <a:lnTo>
                  <a:pt x="209417" y="3141265"/>
                </a:lnTo>
                <a:lnTo>
                  <a:pt x="4816607" y="3141265"/>
                </a:lnTo>
                <a:lnTo>
                  <a:pt x="5026024" y="2931847"/>
                </a:lnTo>
                <a:lnTo>
                  <a:pt x="5026024" y="209417"/>
                </a:lnTo>
                <a:lnTo>
                  <a:pt x="4816607" y="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72000" tIns="72000" rIns="72000" bIns="144000" rtlCol="0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1100" dirty="0"/>
              <a:t>[</a:t>
            </a:r>
            <a:r>
              <a:rPr lang="es-ES" sz="1100" kern="0" dirty="0"/>
              <a:t>Requisitos o cambios exigidos</a:t>
            </a:r>
            <a:r>
              <a:rPr lang="es-ES" sz="1100" dirty="0"/>
              <a:t>]</a:t>
            </a:r>
          </a:p>
        </p:txBody>
      </p:sp>
      <p:sp>
        <p:nvSpPr>
          <p:cNvPr id="15" name="object 2">
            <a:extLst>
              <a:ext uri="{FF2B5EF4-FFF2-40B4-BE49-F238E27FC236}">
                <a16:creationId xmlns:a16="http://schemas.microsoft.com/office/drawing/2014/main" id="{541D4C7E-0D7C-EB34-57A1-FDEBB00687DC}"/>
              </a:ext>
            </a:extLst>
          </p:cNvPr>
          <p:cNvSpPr/>
          <p:nvPr userDrawn="1"/>
        </p:nvSpPr>
        <p:spPr>
          <a:xfrm>
            <a:off x="296769" y="7020697"/>
            <a:ext cx="6215326" cy="852047"/>
          </a:xfrm>
          <a:custGeom>
            <a:avLst/>
            <a:gdLst/>
            <a:ahLst/>
            <a:cxnLst/>
            <a:rect l="l" t="t" r="r" b="b"/>
            <a:pathLst>
              <a:path w="5026025" h="3141345">
                <a:moveTo>
                  <a:pt x="4816607" y="0"/>
                </a:moveTo>
                <a:lnTo>
                  <a:pt x="209417" y="0"/>
                </a:lnTo>
                <a:lnTo>
                  <a:pt x="0" y="209417"/>
                </a:lnTo>
                <a:lnTo>
                  <a:pt x="0" y="2931847"/>
                </a:lnTo>
                <a:lnTo>
                  <a:pt x="209417" y="3141265"/>
                </a:lnTo>
                <a:lnTo>
                  <a:pt x="4816607" y="3141265"/>
                </a:lnTo>
                <a:lnTo>
                  <a:pt x="5026024" y="2931847"/>
                </a:lnTo>
                <a:lnTo>
                  <a:pt x="5026024" y="209417"/>
                </a:lnTo>
                <a:lnTo>
                  <a:pt x="4816607" y="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72000" tIns="72000" rIns="72000" bIns="72000" rtlCol="0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1100" dirty="0"/>
              <a:t>[</a:t>
            </a:r>
            <a:r>
              <a:rPr kumimoji="0" lang="es-ES" sz="11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Sanciones por </a:t>
            </a:r>
            <a:r>
              <a:rPr kumimoji="0" lang="es-ES" sz="11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</a:rPr>
              <a:t>inc</a:t>
            </a:r>
            <a:r>
              <a:rPr lang="es-ES" sz="1100" kern="0" dirty="0" err="1"/>
              <a:t>umplimiento</a:t>
            </a:r>
            <a:r>
              <a:rPr lang="es-ES" sz="1100" dirty="0"/>
              <a:t>]</a:t>
            </a:r>
          </a:p>
        </p:txBody>
      </p:sp>
      <p:sp>
        <p:nvSpPr>
          <p:cNvPr id="16" name="object 2">
            <a:extLst>
              <a:ext uri="{FF2B5EF4-FFF2-40B4-BE49-F238E27FC236}">
                <a16:creationId xmlns:a16="http://schemas.microsoft.com/office/drawing/2014/main" id="{C32CB403-0F34-45C2-B95D-5AFB064D9040}"/>
              </a:ext>
            </a:extLst>
          </p:cNvPr>
          <p:cNvSpPr/>
          <p:nvPr userDrawn="1"/>
        </p:nvSpPr>
        <p:spPr>
          <a:xfrm>
            <a:off x="284772" y="8236148"/>
            <a:ext cx="6215326" cy="852047"/>
          </a:xfrm>
          <a:custGeom>
            <a:avLst/>
            <a:gdLst/>
            <a:ahLst/>
            <a:cxnLst/>
            <a:rect l="l" t="t" r="r" b="b"/>
            <a:pathLst>
              <a:path w="5026025" h="3141345">
                <a:moveTo>
                  <a:pt x="4816607" y="0"/>
                </a:moveTo>
                <a:lnTo>
                  <a:pt x="209417" y="0"/>
                </a:lnTo>
                <a:lnTo>
                  <a:pt x="0" y="209417"/>
                </a:lnTo>
                <a:lnTo>
                  <a:pt x="0" y="2931847"/>
                </a:lnTo>
                <a:lnTo>
                  <a:pt x="209417" y="3141265"/>
                </a:lnTo>
                <a:lnTo>
                  <a:pt x="4816607" y="3141265"/>
                </a:lnTo>
                <a:lnTo>
                  <a:pt x="5026024" y="2931847"/>
                </a:lnTo>
                <a:lnTo>
                  <a:pt x="5026024" y="209417"/>
                </a:lnTo>
                <a:lnTo>
                  <a:pt x="4816607" y="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72000" tIns="72000" rIns="72000" bIns="72000" rtlCol="0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1100" dirty="0"/>
              <a:t>[</a:t>
            </a:r>
            <a:r>
              <a:rPr kumimoji="0" lang="es-ES" sz="11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Acciones </a:t>
            </a:r>
            <a:r>
              <a:rPr lang="es-ES" sz="1100" kern="0" dirty="0"/>
              <a:t>recomendadas</a:t>
            </a:r>
            <a:r>
              <a:rPr lang="es-ES" sz="1100" dirty="0"/>
              <a:t>]</a:t>
            </a:r>
          </a:p>
        </p:txBody>
      </p:sp>
      <p:sp>
        <p:nvSpPr>
          <p:cNvPr id="17" name="object 2">
            <a:extLst>
              <a:ext uri="{FF2B5EF4-FFF2-40B4-BE49-F238E27FC236}">
                <a16:creationId xmlns:a16="http://schemas.microsoft.com/office/drawing/2014/main" id="{04156175-6DB2-BA08-1D21-146F38D53E5A}"/>
              </a:ext>
            </a:extLst>
          </p:cNvPr>
          <p:cNvSpPr/>
          <p:nvPr userDrawn="1"/>
        </p:nvSpPr>
        <p:spPr>
          <a:xfrm>
            <a:off x="262517" y="9938671"/>
            <a:ext cx="6215326" cy="852047"/>
          </a:xfrm>
          <a:custGeom>
            <a:avLst/>
            <a:gdLst/>
            <a:ahLst/>
            <a:cxnLst/>
            <a:rect l="l" t="t" r="r" b="b"/>
            <a:pathLst>
              <a:path w="5026025" h="3141345">
                <a:moveTo>
                  <a:pt x="4816607" y="0"/>
                </a:moveTo>
                <a:lnTo>
                  <a:pt x="209417" y="0"/>
                </a:lnTo>
                <a:lnTo>
                  <a:pt x="0" y="209417"/>
                </a:lnTo>
                <a:lnTo>
                  <a:pt x="0" y="2931847"/>
                </a:lnTo>
                <a:lnTo>
                  <a:pt x="209417" y="3141265"/>
                </a:lnTo>
                <a:lnTo>
                  <a:pt x="4816607" y="3141265"/>
                </a:lnTo>
                <a:lnTo>
                  <a:pt x="5026024" y="2931847"/>
                </a:lnTo>
                <a:lnTo>
                  <a:pt x="5026024" y="209417"/>
                </a:lnTo>
                <a:lnTo>
                  <a:pt x="4816607" y="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72000" tIns="72000" rIns="72000" bIns="72000" rtlCol="0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1100" dirty="0"/>
              <a:t>Indicar si hay herramientas en el mercado que ya abordan el tema, presupuesto que se puede estimar….</a:t>
            </a:r>
          </a:p>
        </p:txBody>
      </p:sp>
      <p:sp>
        <p:nvSpPr>
          <p:cNvPr id="20" name="Rectángulo 14">
            <a:extLst>
              <a:ext uri="{FF2B5EF4-FFF2-40B4-BE49-F238E27FC236}">
                <a16:creationId xmlns:a16="http://schemas.microsoft.com/office/drawing/2014/main" id="{A94772E3-AA57-81D5-E8B6-758781FACB28}"/>
              </a:ext>
            </a:extLst>
          </p:cNvPr>
          <p:cNvSpPr/>
          <p:nvPr userDrawn="1"/>
        </p:nvSpPr>
        <p:spPr>
          <a:xfrm>
            <a:off x="313806" y="4679557"/>
            <a:ext cx="6826317" cy="264288"/>
          </a:xfrm>
          <a:prstGeom prst="rect">
            <a:avLst/>
          </a:prstGeom>
          <a:noFill/>
        </p:spPr>
        <p:txBody>
          <a:bodyPr wrap="square" lIns="144000" tIns="0" rIns="576000" bIns="0" rtlCol="0" anchor="ctr"/>
          <a:lstStyle/>
          <a:p>
            <a:pPr marL="0" marR="0" lvl="0" indent="0" defTabSz="685343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r>
              <a:rPr lang="es-ES" sz="1400" b="1" kern="0" dirty="0"/>
              <a:t>Análisis de riesgo e impactos para [Nombre de la entidad]</a:t>
            </a:r>
            <a:endParaRPr kumimoji="0" lang="es-ES" sz="14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21" name="Rectángulo 15">
            <a:extLst>
              <a:ext uri="{FF2B5EF4-FFF2-40B4-BE49-F238E27FC236}">
                <a16:creationId xmlns:a16="http://schemas.microsoft.com/office/drawing/2014/main" id="{ACED8921-9FDA-6581-3D04-B767A372912F}"/>
              </a:ext>
            </a:extLst>
          </p:cNvPr>
          <p:cNvSpPr/>
          <p:nvPr userDrawn="1"/>
        </p:nvSpPr>
        <p:spPr>
          <a:xfrm>
            <a:off x="237603" y="9488408"/>
            <a:ext cx="3132358" cy="388586"/>
          </a:xfrm>
          <a:prstGeom prst="rect">
            <a:avLst/>
          </a:prstGeom>
          <a:noFill/>
        </p:spPr>
        <p:txBody>
          <a:bodyPr wrap="square" lIns="144000" tIns="0" rIns="576000" bIns="0" rtlCol="0" anchor="t"/>
          <a:lstStyle/>
          <a:p>
            <a:pPr marL="171450" marR="0" lvl="0" indent="-17145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1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</a:rPr>
              <a:t>Owners</a:t>
            </a:r>
            <a:r>
              <a:rPr kumimoji="0" lang="es-ES" sz="11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 o responsables</a:t>
            </a:r>
          </a:p>
          <a:p>
            <a:pPr marL="171450" marR="0" lvl="0" indent="-17145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ES" sz="1100" kern="0" dirty="0"/>
              <a:t>Propuesta de recursos</a:t>
            </a:r>
            <a:endParaRPr kumimoji="0" lang="es-ES" sz="110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32" name="Rectángulo 15">
            <a:extLst>
              <a:ext uri="{FF2B5EF4-FFF2-40B4-BE49-F238E27FC236}">
                <a16:creationId xmlns:a16="http://schemas.microsoft.com/office/drawing/2014/main" id="{0DF806E4-9B8A-EC41-B5CB-4BB5A3694F81}"/>
              </a:ext>
            </a:extLst>
          </p:cNvPr>
          <p:cNvSpPr/>
          <p:nvPr userDrawn="1"/>
        </p:nvSpPr>
        <p:spPr>
          <a:xfrm>
            <a:off x="396927" y="3226669"/>
            <a:ext cx="3132358" cy="388586"/>
          </a:xfrm>
          <a:prstGeom prst="rect">
            <a:avLst/>
          </a:prstGeom>
          <a:noFill/>
        </p:spPr>
        <p:txBody>
          <a:bodyPr wrap="square" lIns="144000" tIns="0" rIns="576000" bIns="0" rtlCol="0" anchor="t"/>
          <a:lstStyle/>
          <a:p>
            <a:pPr marL="0" marR="0" lvl="0" indent="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 sz="1100" kern="0" dirty="0"/>
              <a:t>Resumen ejecutivo</a:t>
            </a:r>
            <a:endParaRPr lang="es-ES" sz="1000" dirty="0"/>
          </a:p>
        </p:txBody>
      </p:sp>
      <p:sp>
        <p:nvSpPr>
          <p:cNvPr id="33" name="Rectángulo 15">
            <a:extLst>
              <a:ext uri="{FF2B5EF4-FFF2-40B4-BE49-F238E27FC236}">
                <a16:creationId xmlns:a16="http://schemas.microsoft.com/office/drawing/2014/main" id="{3F889AF6-1D5A-6F0C-393C-9CA9C2A89064}"/>
              </a:ext>
            </a:extLst>
          </p:cNvPr>
          <p:cNvSpPr/>
          <p:nvPr userDrawn="1"/>
        </p:nvSpPr>
        <p:spPr>
          <a:xfrm>
            <a:off x="296769" y="6704927"/>
            <a:ext cx="3132358" cy="317542"/>
          </a:xfrm>
          <a:prstGeom prst="rect">
            <a:avLst/>
          </a:prstGeom>
          <a:noFill/>
        </p:spPr>
        <p:txBody>
          <a:bodyPr wrap="square" lIns="144000" tIns="0" rIns="576000" bIns="0" rtlCol="0" anchor="ctr"/>
          <a:lstStyle/>
          <a:p>
            <a:pPr marL="171450" marR="0" lvl="0" indent="-17145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1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Sanciones por </a:t>
            </a:r>
            <a:r>
              <a:rPr kumimoji="0" lang="es-ES" sz="11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</a:rPr>
              <a:t>inc</a:t>
            </a:r>
            <a:r>
              <a:rPr lang="es-ES" sz="1100" kern="0" dirty="0" err="1"/>
              <a:t>umplimiento</a:t>
            </a:r>
            <a:endParaRPr lang="es-ES" sz="1100" kern="0" dirty="0"/>
          </a:p>
        </p:txBody>
      </p:sp>
      <p:sp>
        <p:nvSpPr>
          <p:cNvPr id="34" name="Rectángulo 15">
            <a:extLst>
              <a:ext uri="{FF2B5EF4-FFF2-40B4-BE49-F238E27FC236}">
                <a16:creationId xmlns:a16="http://schemas.microsoft.com/office/drawing/2014/main" id="{391F0C8B-7652-6DA5-0F23-94D9EF976B23}"/>
              </a:ext>
            </a:extLst>
          </p:cNvPr>
          <p:cNvSpPr/>
          <p:nvPr userDrawn="1"/>
        </p:nvSpPr>
        <p:spPr>
          <a:xfrm>
            <a:off x="296769" y="7905381"/>
            <a:ext cx="3132358" cy="317542"/>
          </a:xfrm>
          <a:prstGeom prst="rect">
            <a:avLst/>
          </a:prstGeom>
          <a:noFill/>
        </p:spPr>
        <p:txBody>
          <a:bodyPr wrap="square" lIns="144000" tIns="0" rIns="576000" bIns="0" rtlCol="0" anchor="ctr"/>
          <a:lstStyle/>
          <a:p>
            <a:pPr marL="171450" marR="0" lvl="0" indent="-171450" defTabSz="685343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1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Acciones </a:t>
            </a:r>
            <a:r>
              <a:rPr lang="es-ES" sz="1100" kern="0" dirty="0"/>
              <a:t>recomendadas</a:t>
            </a:r>
          </a:p>
        </p:txBody>
      </p:sp>
    </p:spTree>
    <p:extLst>
      <p:ext uri="{BB962C8B-B14F-4D97-AF65-F5344CB8AC3E}">
        <p14:creationId xmlns:p14="http://schemas.microsoft.com/office/powerpoint/2010/main" val="37657947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</p:sldLayoutIdLst>
  <p:hf sldNum="0" hdr="0" dt="0"/>
  <p:txStyles>
    <p:titleStyle>
      <a:lvl1pPr algn="l" defTabSz="914377" rtl="0" eaLnBrk="1" latinLnBrk="0" hangingPunct="1">
        <a:lnSpc>
          <a:spcPct val="85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396000" indent="-18000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612000" indent="-18000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828000" indent="-18000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044000" indent="-18000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840" userDrawn="1">
          <p15:clr>
            <a:srgbClr val="F26B43"/>
          </p15:clr>
        </p15:guide>
        <p15:guide id="2" pos="2160" userDrawn="1">
          <p15:clr>
            <a:srgbClr val="F26B43"/>
          </p15:clr>
        </p15:guide>
        <p15:guide id="3" pos="119" userDrawn="1">
          <p15:clr>
            <a:srgbClr val="F26B43"/>
          </p15:clr>
        </p15:guide>
        <p15:guide id="4" pos="4201" userDrawn="1">
          <p15:clr>
            <a:srgbClr val="F26B43"/>
          </p15:clr>
        </p15:guide>
        <p15:guide id="5" orient="horz" pos="6985" userDrawn="1">
          <p15:clr>
            <a:srgbClr val="F26B43"/>
          </p15:clr>
        </p15:guide>
        <p15:guide id="6" orient="horz" pos="615" userDrawn="1">
          <p15:clr>
            <a:srgbClr val="F26B43"/>
          </p15:clr>
        </p15:guide>
        <p15:guide id="7" orient="horz" pos="357" userDrawn="1">
          <p15:clr>
            <a:srgbClr val="F26B43"/>
          </p15:clr>
        </p15:guide>
        <p15:guide id="8" orient="horz" pos="730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9FE49B4-894F-D734-134C-6FF4157A29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-2665412" y="2668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25" imgH="426" progId="TCLayout.ActiveDocument.1">
                  <p:embed/>
                </p:oleObj>
              </mc:Choice>
              <mc:Fallback>
                <p:oleObj name="Diapositiva de think-cell" r:id="rId4" imgW="425" imgH="42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9FE49B4-894F-D734-134C-6FF4157A29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-2665412" y="2668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84435228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NTENIDO">
  <a:themeElements>
    <a:clrScheme name="MINSAIT 2024">
      <a:dk1>
        <a:srgbClr val="4F062A"/>
      </a:dk1>
      <a:lt1>
        <a:srgbClr val="FFFFFF"/>
      </a:lt1>
      <a:dk2>
        <a:srgbClr val="260717"/>
      </a:dk2>
      <a:lt2>
        <a:srgbClr val="E3E2DA"/>
      </a:lt2>
      <a:accent1>
        <a:srgbClr val="FF0054"/>
      </a:accent1>
      <a:accent2>
        <a:srgbClr val="44B757"/>
      </a:accent2>
      <a:accent3>
        <a:srgbClr val="8661F5"/>
      </a:accent3>
      <a:accent4>
        <a:srgbClr val="E56813"/>
      </a:accent4>
      <a:accent5>
        <a:srgbClr val="00B0BD"/>
      </a:accent5>
      <a:accent6>
        <a:srgbClr val="EF659D"/>
      </a:accent6>
      <a:hlink>
        <a:srgbClr val="FF0054"/>
      </a:hlink>
      <a:folHlink>
        <a:srgbClr val="A40037"/>
      </a:folHlink>
    </a:clrScheme>
    <a:fontScheme name="Personalizado 4">
      <a:majorFont>
        <a:latin typeface="ForFuture Sans"/>
        <a:ea typeface=""/>
        <a:cs typeface=""/>
      </a:majorFont>
      <a:minorFont>
        <a:latin typeface="ForFuture Sans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1"/>
          </a:solidFill>
        </a:ln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wrap="square" lIns="0" tIns="7312" rIns="0" bIns="0" rtlCol="0">
        <a:spAutoFit/>
      </a:bodyPr>
      <a:lstStyle>
        <a:defPPr marL="7696" algn="l">
          <a:spcBef>
            <a:spcPts val="600"/>
          </a:spcBef>
          <a:defRPr sz="1400" dirty="0" smtClean="0">
            <a:solidFill>
              <a:schemeClr val="tx2"/>
            </a:solidFill>
            <a:cs typeface="Trebuchet MS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_MINSAIT.potx" id="{8C9AA064-F6BB-49A0-B948-6EBD015E0CDF}" vid="{A1B96FE0-3D6A-4A57-8C50-A278C1B74007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Metadata/LabelInfo.xml><?xml version="1.0" encoding="utf-8"?>
<clbl:labelList xmlns:clbl="http://schemas.microsoft.com/office/2020/mipLabelMetadata">
  <clbl:label id="{7808e005-1489-4374-954b-d3b08f193920}" enabled="0" method="" siteId="{7808e005-1489-4374-954b-d3b08f193920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7898</TotalTime>
  <Words>1</Words>
  <Application>Microsoft Office PowerPoint</Application>
  <PresentationFormat>Widescreen</PresentationFormat>
  <Paragraphs>1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Calibri</vt:lpstr>
      <vt:lpstr>ForFuture Sans</vt:lpstr>
      <vt:lpstr>CONTENIDO</vt:lpstr>
      <vt:lpstr>Diapositiva de think-cell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Arcos González, Diego Antonio</dc:creator>
  <cp:lastModifiedBy>Oji Palino, Kalu</cp:lastModifiedBy>
  <cp:revision>16</cp:revision>
  <dcterms:created xsi:type="dcterms:W3CDTF">2024-11-26T12:08:15Z</dcterms:created>
  <dcterms:modified xsi:type="dcterms:W3CDTF">2025-02-19T11:22:15Z</dcterms:modified>
</cp:coreProperties>
</file>